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D3F1C8E5-2E0D-46A3-B370-D0DAE9C6526C}">
          <p14:sldIdLst>
            <p14:sldId id="2147475173"/>
            <p14:sldId id="2147475174"/>
            <p14:sldId id="2147475175"/>
            <p14:sldId id="2147475176"/>
            <p14:sldId id="2147475177"/>
            <p14:sldId id="2147475178"/>
            <p14:sldId id="2147475179"/>
            <p14:sldId id="2147475180"/>
            <p14:sldId id="2147475181"/>
          </p14:sldIdLst>
        </p14:section>
        <p14:section name="Brackets By Sector" id="{FABD8E9A-1044-4958-B420-994B22C793AE}">
          <p14:sldIdLst>
            <p14:sldId id="2147475182"/>
            <p14:sldId id="2147475183"/>
            <p14:sldId id="2147475184"/>
            <p14:sldId id="2147475185"/>
            <p14:sldId id="2147475186"/>
            <p14:sldId id="2147475187"/>
            <p14:sldId id="2147475188"/>
            <p14:sldId id="2147475189"/>
            <p14:sldId id="2147475190"/>
          </p14:sldIdLst>
        </p14:section>
        <p14:section name="Brackets By Segment" id="{5FF5110A-D408-46D9-BEC2-0BED98A81187}">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9</c:v>
                </c:pt>
                <c:pt idx="1">
                  <c:v>0.01938841924172066</c:v>
                </c:pt>
                <c:pt idx="2">
                  <c:v>0.021087854795020847</c:v>
                </c:pt>
                <c:pt idx="3">
                  <c:v>0.046570673243805184</c:v>
                </c:pt>
                <c:pt idx="4">
                  <c:v>0.07462882923789696</c:v>
                </c:pt>
                <c:pt idx="5">
                  <c:v>0.09600551601999485</c:v>
                </c:pt>
                <c:pt idx="6">
                  <c:v>0.1265381674943396</c:v>
                </c:pt>
                <c:pt idx="7">
                  <c:v>0.17825652938472852</c:v>
                </c:pt>
                <c:pt idx="8">
                  <c:v>0.23031073586023193</c:v>
                </c:pt>
                <c:pt idx="9">
                  <c:v>0.10325666844976601</c:v>
                </c:pt>
                <c:pt idx="10">
                  <c:v>0.0834147382079293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23843362055684073</c:v>
                </c:pt>
                <c:pt idx="7">
                  <c:v>0.0057335995141645935</c:v>
                </c:pt>
                <c:pt idx="8">
                  <c:v>0.0067972502166184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4</c:v>
                </c:pt>
                <c:pt idx="4">
                  <c:v>0.005396887048983884</c:v>
                </c:pt>
                <c:pt idx="5">
                  <c:v>0.015186923790371032</c:v>
                </c:pt>
                <c:pt idx="6">
                  <c:v>0.06798306597546827</c:v>
                </c:pt>
                <c:pt idx="7">
                  <c:v>0.170355174941914</c:v>
                </c:pt>
                <c:pt idx="8">
                  <c:v>0.2697100452327518</c:v>
                </c:pt>
                <c:pt idx="9">
                  <c:v>0.19172318249558798</c:v>
                </c:pt>
                <c:pt idx="10">
                  <c:v>0.2219317288868625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c:v>
                </c:pt>
                <c:pt idx="3">
                  <c:v>0.04319369866074314</c:v>
                </c:pt>
                <c:pt idx="4">
                  <c:v>0.06086647020153795</c:v>
                </c:pt>
                <c:pt idx="5">
                  <c:v>0.11629275414523582</c:v>
                </c:pt>
                <c:pt idx="6">
                  <c:v>0.14114999538782796</c:v>
                </c:pt>
                <c:pt idx="7">
                  <c:v>0.18708207317322248</c:v>
                </c:pt>
                <c:pt idx="8">
                  <c:v>0.1967227295391132</c:v>
                </c:pt>
                <c:pt idx="9">
                  <c:v>0.14353338057932882</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3505707366851</c:v>
                </c:pt>
                <c:pt idx="4">
                  <c:v>0.007984190768593007</c:v>
                </c:pt>
                <c:pt idx="5">
                  <c:v>0.0037744728815551137</c:v>
                </c:pt>
                <c:pt idx="6">
                  <c:v>0.0034438242223271344</c:v>
                </c:pt>
                <c:pt idx="7">
                  <c:v>0.00436629017630431</c:v>
                </c:pt>
                <c:pt idx="8">
                  <c:v>0.0019560900311123767</c:v>
                </c:pt>
                <c:pt idx="9">
                  <c:v>0.00151409847341522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1</c:v>
                </c:pt>
                <c:pt idx="7">
                  <c:v>0.11515289447697061</c:v>
                </c:pt>
                <c:pt idx="8">
                  <c:v>0.18021104120617157</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78</c:v>
                </c:pt>
                <c:pt idx="1">
                  <c:v>0.012044393970977332</c:v>
                </c:pt>
                <c:pt idx="2">
                  <c:v>0.014302872009187801</c:v>
                </c:pt>
                <c:pt idx="3">
                  <c:v>0.07353414332388442</c:v>
                </c:pt>
                <c:pt idx="4">
                  <c:v>0.05488923808164483</c:v>
                </c:pt>
                <c:pt idx="5">
                  <c:v>0.12557448270961982</c:v>
                </c:pt>
                <c:pt idx="6">
                  <c:v>0.12102272836063067</c:v>
                </c:pt>
                <c:pt idx="7">
                  <c:v>0.18684329868097355</c:v>
                </c:pt>
                <c:pt idx="8">
                  <c:v>0.21470096608732964</c:v>
                </c:pt>
                <c:pt idx="9">
                  <c:v>0.11508403400458216</c:v>
                </c:pt>
                <c:pt idx="10">
                  <c:v>0.067596679442113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806266603101361</c:v>
                </c:pt>
                <c:pt idx="3">
                  <c:v>0.008807591133913039</c:v>
                </c:pt>
                <c:pt idx="4">
                  <c:v>0.010092321277592933</c:v>
                </c:pt>
                <c:pt idx="6">
                  <c:v>0.001112768488409326</c:v>
                </c:pt>
                <c:pt idx="7">
                  <c:v>0.01089352677899283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c:v>
                </c:pt>
                <c:pt idx="3">
                  <c:v>0.012088662743128498</c:v>
                </c:pt>
                <c:pt idx="4">
                  <c:v>0.0070793722896692265</c:v>
                </c:pt>
                <c:pt idx="5">
                  <c:v>0.013690961450585395</c:v>
                </c:pt>
                <c:pt idx="6">
                  <c:v>0.07072814467269821</c:v>
                </c:pt>
                <c:pt idx="7">
                  <c:v>0.1685900484983571</c:v>
                </c:pt>
                <c:pt idx="8">
                  <c:v>0.2754727107232577</c:v>
                </c:pt>
                <c:pt idx="9">
                  <c:v>0.18549766489847433</c:v>
                </c:pt>
                <c:pt idx="10">
                  <c:v>0.2220174765351763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6</c:v>
                </c:pt>
                <c:pt idx="8">
                  <c:v>0.2441931908156598</c:v>
                </c:pt>
                <c:pt idx="9">
                  <c:v>0.09521701832419886</c:v>
                </c:pt>
                <c:pt idx="10">
                  <c:v>0.09257267673393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52255904739394</c:v>
                </c:pt>
                <c:pt idx="7">
                  <c:v>0.00446863688421037</c:v>
                </c:pt>
                <c:pt idx="8">
                  <c:v>0.008291006621331705</c:v>
                </c:pt>
                <c:pt idx="9">
                  <c:v>0.00081792685096019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2</c:v>
                </c:pt>
                <c:pt idx="3">
                  <c:v>0.24074556770459496</c:v>
                </c:pt>
                <c:pt idx="4">
                  <c:v>0.25074804702660697</c:v>
                </c:pt>
                <c:pt idx="5">
                  <c:v>0.09501567428034124</c:v>
                </c:pt>
                <c:pt idx="6">
                  <c:v>0.01776621971473062</c:v>
                </c:pt>
                <c:pt idx="7">
                  <c:v>0.15861178296232292</c:v>
                </c:pt>
                <c:pt idx="8">
                  <c:v>0.2067430246170972</c:v>
                </c:pt>
                <c:pt idx="9">
                  <c:v>0.0096400324984600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880987644011186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4</c:v>
                </c:pt>
                <c:pt idx="4">
                  <c:v>0.005396887048983884</c:v>
                </c:pt>
                <c:pt idx="5">
                  <c:v>0.015186923790371032</c:v>
                </c:pt>
                <c:pt idx="6">
                  <c:v>0.06798306597546827</c:v>
                </c:pt>
                <c:pt idx="7">
                  <c:v>0.170355174941914</c:v>
                </c:pt>
                <c:pt idx="8">
                  <c:v>0.2697100452327518</c:v>
                </c:pt>
                <c:pt idx="9">
                  <c:v>0.19172318249558798</c:v>
                </c:pt>
                <c:pt idx="10">
                  <c:v>0.2219317288868625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2134918978433729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c:v>
                </c:pt>
                <c:pt idx="3">
                  <c:v>0.04319369866074314</c:v>
                </c:pt>
                <c:pt idx="4">
                  <c:v>0.06086647020153795</c:v>
                </c:pt>
                <c:pt idx="5">
                  <c:v>0.11629275414523582</c:v>
                </c:pt>
                <c:pt idx="6">
                  <c:v>0.14114999538782796</c:v>
                </c:pt>
                <c:pt idx="7">
                  <c:v>0.18708207317322248</c:v>
                </c:pt>
                <c:pt idx="8">
                  <c:v>0.1967227295391132</c:v>
                </c:pt>
                <c:pt idx="9">
                  <c:v>0.14353338057932882</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2620463993700407</c:v>
                </c:pt>
                <c:pt idx="7">
                  <c:v>0.006787563320020437</c:v>
                </c:pt>
                <c:pt idx="8">
                  <c:v>0.008922813295508415</c:v>
                </c:pt>
                <c:pt idx="9">
                  <c:v>0.00114321837022082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1</c:v>
                </c:pt>
                <c:pt idx="7">
                  <c:v>0.11515289447697061</c:v>
                </c:pt>
                <c:pt idx="8">
                  <c:v>0.18021104120617157</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19428990141866858</c:v>
                </c:pt>
                <c:pt idx="5">
                  <c:v>0.07689897051294806</c:v>
                </c:pt>
                <c:pt idx="6">
                  <c:v>0.021189235879431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78</c:v>
                </c:pt>
                <c:pt idx="1">
                  <c:v>0.012044393970977332</c:v>
                </c:pt>
                <c:pt idx="2">
                  <c:v>0.014302872009187801</c:v>
                </c:pt>
                <c:pt idx="3">
                  <c:v>0.07353414332388442</c:v>
                </c:pt>
                <c:pt idx="4">
                  <c:v>0.05488923808164483</c:v>
                </c:pt>
                <c:pt idx="5">
                  <c:v>0.12557448270961982</c:v>
                </c:pt>
                <c:pt idx="6">
                  <c:v>0.12102272836063067</c:v>
                </c:pt>
                <c:pt idx="7">
                  <c:v>0.18684329868097355</c:v>
                </c:pt>
                <c:pt idx="8">
                  <c:v>0.21470096608732964</c:v>
                </c:pt>
                <c:pt idx="9">
                  <c:v>0.11508403400458216</c:v>
                </c:pt>
                <c:pt idx="10">
                  <c:v>0.067596679442113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384737590349227</c:v>
                </c:pt>
                <c:pt idx="6">
                  <c:v>0.0007201781952149627</c:v>
                </c:pt>
                <c:pt idx="7">
                  <c:v>0.003761278123301791</c:v>
                </c:pt>
                <c:pt idx="8">
                  <c:v>0.014066201206613426</c:v>
                </c:pt>
                <c:pt idx="9">
                  <c:v>0.001395794821956093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11240208748273982</c:v>
                </c:pt>
                <c:pt idx="6">
                  <c:v>0.0051927535628622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c:v>
                </c:pt>
                <c:pt idx="3">
                  <c:v>0.012088662743128498</c:v>
                </c:pt>
                <c:pt idx="4">
                  <c:v>0.0070793722896692265</c:v>
                </c:pt>
                <c:pt idx="5">
                  <c:v>0.013690961450585395</c:v>
                </c:pt>
                <c:pt idx="6">
                  <c:v>0.07072814467269821</c:v>
                </c:pt>
                <c:pt idx="7">
                  <c:v>0.1685900484983571</c:v>
                </c:pt>
                <c:pt idx="8">
                  <c:v>0.2754727107232577</c:v>
                </c:pt>
                <c:pt idx="9">
                  <c:v>0.18549766489847433</c:v>
                </c:pt>
                <c:pt idx="10">
                  <c:v>0.2220174765351763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2135647756597255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4267255754208456</c:v>
                </c:pt>
                <c:pt idx="3">
                  <c:v>0.006827337072079137</c:v>
                </c:pt>
                <c:pt idx="4">
                  <c:v>0.009911853027981745</c:v>
                </c:pt>
                <c:pt idx="5">
                  <c:v>0.026441787850900917</c:v>
                </c:pt>
                <c:pt idx="7">
                  <c:v>0.0641718200234897</c:v>
                </c:pt>
                <c:pt idx="8">
                  <c:v>0.062764568624981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445260241806</c:v>
                </c:pt>
                <c:pt idx="2">
                  <c:v>0.0076663425080420455</c:v>
                </c:pt>
                <c:pt idx="3">
                  <c:v>0.05797876578862857</c:v>
                </c:pt>
                <c:pt idx="4">
                  <c:v>0.023980990241791268</c:v>
                </c:pt>
                <c:pt idx="5">
                  <c:v>0.02130747406627056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306556131165766</c:v>
                </c:pt>
                <c:pt idx="8">
                  <c:v>0.00478595248592671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44032689602339</c:v>
                </c:pt>
                <c:pt idx="1">
                  <c:v>0.016414059402893172</c:v>
                </c:pt>
                <c:pt idx="2">
                  <c:v>0.018161040186737358</c:v>
                </c:pt>
                <c:pt idx="3">
                  <c:v>0.04107651871176549</c:v>
                </c:pt>
                <c:pt idx="4">
                  <c:v>0.07194189086716343</c:v>
                </c:pt>
                <c:pt idx="5">
                  <c:v>0.09244733293971688</c:v>
                </c:pt>
                <c:pt idx="6">
                  <c:v>0.10831682527395142</c:v>
                </c:pt>
                <c:pt idx="7">
                  <c:v>0.1890237751026156</c:v>
                </c:pt>
                <c:pt idx="8">
                  <c:v>0.19576873044059104</c:v>
                </c:pt>
                <c:pt idx="9">
                  <c:v>0.049546663979823755</c:v>
                </c:pt>
                <c:pt idx="10">
                  <c:v>0.2111591304051395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66118400716372</c:v>
                </c:pt>
                <c:pt idx="1">
                  <c:v>0.01797997102747441</c:v>
                </c:pt>
                <c:pt idx="2">
                  <c:v>0.0110865325842958</c:v>
                </c:pt>
                <c:pt idx="3">
                  <c:v>0.013960396047619254</c:v>
                </c:pt>
                <c:pt idx="4">
                  <c:v>0.02723176835838932</c:v>
                </c:pt>
                <c:pt idx="5">
                  <c:v>0.14762693303421917</c:v>
                </c:pt>
                <c:pt idx="6">
                  <c:v>0.13467382647792436</c:v>
                </c:pt>
                <c:pt idx="7">
                  <c:v>0.15483900827319605</c:v>
                </c:pt>
                <c:pt idx="8">
                  <c:v>0.26165380079754724</c:v>
                </c:pt>
                <c:pt idx="9">
                  <c:v>0.18614307658344176</c:v>
                </c:pt>
                <c:pt idx="10">
                  <c:v>0.02043856841517618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1163222739851</c:v>
                </c:pt>
                <c:pt idx="1">
                  <c:v>0.023450659593645454</c:v>
                </c:pt>
                <c:pt idx="2">
                  <c:v>0.04241816351180766</c:v>
                </c:pt>
                <c:pt idx="3">
                  <c:v>0.020666175437598685</c:v>
                </c:pt>
                <c:pt idx="4">
                  <c:v>0.05022300927181057</c:v>
                </c:pt>
                <c:pt idx="5">
                  <c:v>0.07248607276688022</c:v>
                </c:pt>
                <c:pt idx="6">
                  <c:v>0.1448125544631567</c:v>
                </c:pt>
                <c:pt idx="7">
                  <c:v>0.16464962829241295</c:v>
                </c:pt>
                <c:pt idx="8">
                  <c:v>0.37080110599668015</c:v>
                </c:pt>
                <c:pt idx="9">
                  <c:v>0.07144259879591693</c:v>
                </c:pt>
                <c:pt idx="10">
                  <c:v>0.00293839964269222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2</c:v>
                </c:pt>
                <c:pt idx="4">
                  <c:v>0.0704181629023056</c:v>
                </c:pt>
                <c:pt idx="5">
                  <c:v>0.21572543411195483</c:v>
                </c:pt>
                <c:pt idx="6">
                  <c:v>0.35475670948466687</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79075732324675</c:v>
                </c:pt>
                <c:pt idx="1">
                  <c:v>0.005824230887877261</c:v>
                </c:pt>
                <c:pt idx="2">
                  <c:v>0.008885762834549414</c:v>
                </c:pt>
                <c:pt idx="3">
                  <c:v>0.028017279950396302</c:v>
                </c:pt>
                <c:pt idx="4">
                  <c:v>0.10832678515330775</c:v>
                </c:pt>
                <c:pt idx="5">
                  <c:v>0.06675044176678308</c:v>
                </c:pt>
                <c:pt idx="6">
                  <c:v>0.21478575642534897</c:v>
                </c:pt>
                <c:pt idx="7">
                  <c:v>0.2651903699306569</c:v>
                </c:pt>
                <c:pt idx="8">
                  <c:v>0.15819348490249532</c:v>
                </c:pt>
                <c:pt idx="9">
                  <c:v>0.04991458045757674</c:v>
                </c:pt>
                <c:pt idx="10">
                  <c:v>0.017320550367761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c:v>
                </c:pt>
                <c:pt idx="6">
                  <c:v>0.09573927311006256</c:v>
                </c:pt>
                <c:pt idx="7">
                  <c:v>0.19579893844579263</c:v>
                </c:pt>
                <c:pt idx="8">
                  <c:v>0.18662621492811068</c:v>
                </c:pt>
                <c:pt idx="9">
                  <c:v>0.02094787125337853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27770080751443327</c:v>
                </c:pt>
                <c:pt idx="3">
                  <c:v>0.0318619674360169</c:v>
                </c:pt>
                <c:pt idx="4">
                  <c:v>0.01691900346938896</c:v>
                </c:pt>
                <c:pt idx="5">
                  <c:v>0.020802357138447355</c:v>
                </c:pt>
                <c:pt idx="6">
                  <c:v>0.017400080824634567</c:v>
                </c:pt>
                <c:pt idx="7">
                  <c:v>0.0519806273945063</c:v>
                </c:pt>
                <c:pt idx="8">
                  <c:v>0.061718329415258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5</c:v>
                </c:pt>
                <c:pt idx="2">
                  <c:v>0.004450325450931046</c:v>
                </c:pt>
                <c:pt idx="3">
                  <c:v>0.06471624922901416</c:v>
                </c:pt>
                <c:pt idx="4">
                  <c:v>0.024844439046991046</c:v>
                </c:pt>
                <c:pt idx="5">
                  <c:v>0.06507363197089366</c:v>
                </c:pt>
                <c:pt idx="6">
                  <c:v>0.12226394010157356</c:v>
                </c:pt>
                <c:pt idx="7">
                  <c:v>0.24437305930213674</c:v>
                </c:pt>
                <c:pt idx="8">
                  <c:v>0.24572902336939234</c:v>
                </c:pt>
                <c:pt idx="9">
                  <c:v>0.15850126894474115</c:v>
                </c:pt>
                <c:pt idx="10">
                  <c:v>0.0424377845533649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544047456652</c:v>
                </c:pt>
                <c:pt idx="7">
                  <c:v>0.0026853604363414013</c:v>
                </c:pt>
                <c:pt idx="8">
                  <c:v>0.00310633033399305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05</c:v>
                </c:pt>
                <c:pt idx="5">
                  <c:v>0.1236600148751794</c:v>
                </c:pt>
                <c:pt idx="6">
                  <c:v>0.1497106993230088</c:v>
                </c:pt>
                <c:pt idx="7">
                  <c:v>0.1647679430192327</c:v>
                </c:pt>
                <c:pt idx="8">
                  <c:v>0.16299902679493175</c:v>
                </c:pt>
                <c:pt idx="9">
                  <c:v>0.1966570314498176</c:v>
                </c:pt>
                <c:pt idx="10">
                  <c:v>0.046427811992538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75</c:v>
                </c:pt>
                <c:pt idx="4">
                  <c:v>0.05770154953814584</c:v>
                </c:pt>
                <c:pt idx="5">
                  <c:v>0.14579996000114</c:v>
                </c:pt>
                <c:pt idx="6">
                  <c:v>0.1286472547711171</c:v>
                </c:pt>
                <c:pt idx="7">
                  <c:v>0.1797236450590925</c:v>
                </c:pt>
                <c:pt idx="8">
                  <c:v>0.24907140238754866</c:v>
                </c:pt>
                <c:pt idx="9">
                  <c:v>0.15553268833943143</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5</c:v>
                </c:pt>
                <c:pt idx="3">
                  <c:v>0.024302963422487257</c:v>
                </c:pt>
                <c:pt idx="4">
                  <c:v>0.06826483591000859</c:v>
                </c:pt>
                <c:pt idx="5">
                  <c:v>0.08108512902596</c:v>
                </c:pt>
                <c:pt idx="6">
                  <c:v>0.17391019501158078</c:v>
                </c:pt>
                <c:pt idx="7">
                  <c:v>0.21549263910120095</c:v>
                </c:pt>
                <c:pt idx="8">
                  <c:v>0.18617788954780062</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2</c:v>
                </c:pt>
                <c:pt idx="2">
                  <c:v>0.01976108985398971</c:v>
                </c:pt>
                <c:pt idx="3">
                  <c:v>0.07192901748330933</c:v>
                </c:pt>
                <c:pt idx="4">
                  <c:v>0.08583469975759078</c:v>
                </c:pt>
                <c:pt idx="5">
                  <c:v>0.09911325312877962</c:v>
                </c:pt>
                <c:pt idx="6">
                  <c:v>0.10772432930876731</c:v>
                </c:pt>
                <c:pt idx="7">
                  <c:v>0.18687023002152806</c:v>
                </c:pt>
                <c:pt idx="8">
                  <c:v>0.1796363171518086</c:v>
                </c:pt>
                <c:pt idx="9">
                  <c:v>0.14017528983490166</c:v>
                </c:pt>
                <c:pt idx="10">
                  <c:v>0.05954423639885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64</c:v>
                </c:pt>
                <c:pt idx="1">
                  <c:v>0.02062966834660215</c:v>
                </c:pt>
                <c:pt idx="2">
                  <c:v>0.08008332120232513</c:v>
                </c:pt>
                <c:pt idx="3">
                  <c:v>0.02838012765167107</c:v>
                </c:pt>
                <c:pt idx="4">
                  <c:v>0.14083598542271125</c:v>
                </c:pt>
                <c:pt idx="5">
                  <c:v>0.28115211531318074</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08003546001222972</c:v>
                </c:pt>
                <c:pt idx="4">
                  <c:v>0.000746483446360842</c:v>
                </c:pt>
                <c:pt idx="5">
                  <c:v>0.052241447653462884</c:v>
                </c:pt>
                <c:pt idx="6">
                  <c:v>0.007650994406495471</c:v>
                </c:pt>
                <c:pt idx="7">
                  <c:v>0.06491184673736135</c:v>
                </c:pt>
                <c:pt idx="8">
                  <c:v>0.061714556119924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367525237686</c:v>
                </c:pt>
                <c:pt idx="2">
                  <c:v>0.004252032066076116</c:v>
                </c:pt>
                <c:pt idx="3">
                  <c:v>0.0849441658281238</c:v>
                </c:pt>
                <c:pt idx="4">
                  <c:v>0.02767727653606431</c:v>
                </c:pt>
                <c:pt idx="5">
                  <c:v>0.10953939421161026</c:v>
                </c:pt>
                <c:pt idx="6">
                  <c:v>0.12398962027820842</c:v>
                </c:pt>
                <c:pt idx="7">
                  <c:v>0.12106155214187639</c:v>
                </c:pt>
                <c:pt idx="8">
                  <c:v>0.3262023710047276</c:v>
                </c:pt>
                <c:pt idx="9">
                  <c:v>0.10121561452946574</c:v>
                </c:pt>
                <c:pt idx="10">
                  <c:v>0.095055559082672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9565669634046</c:v>
                </c:pt>
                <c:pt idx="5">
                  <c:v>0.002810932262993805</c:v>
                </c:pt>
                <c:pt idx="7">
                  <c:v>0.0035380786132008894</c:v>
                </c:pt>
                <c:pt idx="8">
                  <c:v>0.003753305159015161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6400875063420107</c:v>
                </c:pt>
                <c:pt idx="8">
                  <c:v>0.00610053049476502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872184253652326</c:v>
                </c:pt>
                <c:pt idx="1">
                  <c:v>0.0064377750810823645</c:v>
                </c:pt>
                <c:pt idx="2">
                  <c:v>0.023401097734032036</c:v>
                </c:pt>
                <c:pt idx="3">
                  <c:v>0.09046787823725069</c:v>
                </c:pt>
                <c:pt idx="4">
                  <c:v>0.026029595140876296</c:v>
                </c:pt>
                <c:pt idx="5">
                  <c:v>0.11858627354648472</c:v>
                </c:pt>
                <c:pt idx="6">
                  <c:v>0.1264765741568671</c:v>
                </c:pt>
                <c:pt idx="7">
                  <c:v>0.1971793522112262</c:v>
                </c:pt>
                <c:pt idx="8">
                  <c:v>0.1470544346951471</c:v>
                </c:pt>
                <c:pt idx="9">
                  <c:v>0.1255618047012625</c:v>
                </c:pt>
                <c:pt idx="10">
                  <c:v>0.134117996070405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35215450686418</c:v>
                </c:pt>
                <c:pt idx="1">
                  <c:v>0.0018944882812584778</c:v>
                </c:pt>
                <c:pt idx="2">
                  <c:v>0.0041063764779702226</c:v>
                </c:pt>
                <c:pt idx="3">
                  <c:v>0.01662843254070168</c:v>
                </c:pt>
                <c:pt idx="4">
                  <c:v>0.07293795557510467</c:v>
                </c:pt>
                <c:pt idx="5">
                  <c:v>0.1579797189122554</c:v>
                </c:pt>
                <c:pt idx="6">
                  <c:v>0.09598337906718378</c:v>
                </c:pt>
                <c:pt idx="7">
                  <c:v>0.21068997706434742</c:v>
                </c:pt>
                <c:pt idx="8">
                  <c:v>0.19968366113881508</c:v>
                </c:pt>
                <c:pt idx="9">
                  <c:v>0.15604544109593402</c:v>
                </c:pt>
                <c:pt idx="10">
                  <c:v>0.042698415339565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6552582285686</c:v>
                </c:pt>
                <c:pt idx="1">
                  <c:v>0.009453718885226003</c:v>
                </c:pt>
                <c:pt idx="2">
                  <c:v>0.020219498100420973</c:v>
                </c:pt>
                <c:pt idx="3">
                  <c:v>0.008240412408021246</c:v>
                </c:pt>
                <c:pt idx="4">
                  <c:v>0.05553369529734231</c:v>
                </c:pt>
                <c:pt idx="5">
                  <c:v>0.09321378517433843</c:v>
                </c:pt>
                <c:pt idx="6">
                  <c:v>0.216150125010367</c:v>
                </c:pt>
                <c:pt idx="7">
                  <c:v>0.151632184131818</c:v>
                </c:pt>
                <c:pt idx="8">
                  <c:v>0.34844429515359976</c:v>
                </c:pt>
                <c:pt idx="9">
                  <c:v>0.082946760016009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c:v>
                </c:pt>
                <c:pt idx="5">
                  <c:v>0.23404232341194106</c:v>
                </c:pt>
                <c:pt idx="6">
                  <c:v>0.17198108201208442</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44842968244936</c:v>
                </c:pt>
                <c:pt idx="1">
                  <c:v>0.006067271340511831</c:v>
                </c:pt>
                <c:pt idx="2">
                  <c:v>0.008868916459005855</c:v>
                </c:pt>
                <c:pt idx="3">
                  <c:v>0.026540558614162744</c:v>
                </c:pt>
                <c:pt idx="4">
                  <c:v>0.10919847111894317</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7015941668175954</c:v>
                </c:pt>
                <c:pt idx="4">
                  <c:v>0.0390813591997439</c:v>
                </c:pt>
                <c:pt idx="5">
                  <c:v>0.04124769773083601</c:v>
                </c:pt>
                <c:pt idx="6">
                  <c:v>0.022447565871506092</c:v>
                </c:pt>
                <c:pt idx="7">
                  <c:v>0.07007288007793164</c:v>
                </c:pt>
                <c:pt idx="8">
                  <c:v>0.01775360760129362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445260241806</c:v>
                </c:pt>
                <c:pt idx="2">
                  <c:v>0.0076663425080420455</c:v>
                </c:pt>
                <c:pt idx="3">
                  <c:v>0.05797876578862857</c:v>
                </c:pt>
                <c:pt idx="4">
                  <c:v>0.023980990241791268</c:v>
                </c:pt>
                <c:pt idx="5">
                  <c:v>0.02130747406627056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44032689602339</c:v>
                </c:pt>
                <c:pt idx="1">
                  <c:v>0.016414059402893172</c:v>
                </c:pt>
                <c:pt idx="2">
                  <c:v>0.018161040186737358</c:v>
                </c:pt>
                <c:pt idx="3">
                  <c:v>0.04107651871176549</c:v>
                </c:pt>
                <c:pt idx="4">
                  <c:v>0.07194189086716343</c:v>
                </c:pt>
                <c:pt idx="5">
                  <c:v>0.09244733293971688</c:v>
                </c:pt>
                <c:pt idx="6">
                  <c:v>0.10831682527395142</c:v>
                </c:pt>
                <c:pt idx="7">
                  <c:v>0.1890237751026156</c:v>
                </c:pt>
                <c:pt idx="8">
                  <c:v>0.19576873044059104</c:v>
                </c:pt>
                <c:pt idx="9">
                  <c:v>0.049546663979823755</c:v>
                </c:pt>
                <c:pt idx="10">
                  <c:v>0.2111591304051395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66118400716372</c:v>
                </c:pt>
                <c:pt idx="1">
                  <c:v>0.01797997102747441</c:v>
                </c:pt>
                <c:pt idx="2">
                  <c:v>0.0110865325842958</c:v>
                </c:pt>
                <c:pt idx="3">
                  <c:v>0.013960396047619254</c:v>
                </c:pt>
                <c:pt idx="4">
                  <c:v>0.02723176835838932</c:v>
                </c:pt>
                <c:pt idx="5">
                  <c:v>0.14762693303421917</c:v>
                </c:pt>
                <c:pt idx="6">
                  <c:v>0.13467382647792436</c:v>
                </c:pt>
                <c:pt idx="7">
                  <c:v>0.15483900827319605</c:v>
                </c:pt>
                <c:pt idx="8">
                  <c:v>0.26165380079754724</c:v>
                </c:pt>
                <c:pt idx="9">
                  <c:v>0.18614307658344176</c:v>
                </c:pt>
                <c:pt idx="10">
                  <c:v>0.02043856841517618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56244764193211</c:v>
                </c:pt>
                <c:pt idx="3">
                  <c:v>0.0006089198776111931</c:v>
                </c:pt>
                <c:pt idx="4">
                  <c:v>0.0008840231951314473</c:v>
                </c:pt>
                <c:pt idx="5">
                  <c:v>0.0023583031058826112</c:v>
                </c:pt>
                <c:pt idx="7">
                  <c:v>0.0057356650532077134</c:v>
                </c:pt>
                <c:pt idx="8">
                  <c:v>0.00614173951417838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1163222739851</c:v>
                </c:pt>
                <c:pt idx="1">
                  <c:v>0.023450659593645454</c:v>
                </c:pt>
                <c:pt idx="2">
                  <c:v>0.04241816351180766</c:v>
                </c:pt>
                <c:pt idx="3">
                  <c:v>0.020666175437598685</c:v>
                </c:pt>
                <c:pt idx="4">
                  <c:v>0.05022300927181057</c:v>
                </c:pt>
                <c:pt idx="5">
                  <c:v>0.07248607276688022</c:v>
                </c:pt>
                <c:pt idx="6">
                  <c:v>0.1448125544631567</c:v>
                </c:pt>
                <c:pt idx="7">
                  <c:v>0.16464962829241295</c:v>
                </c:pt>
                <c:pt idx="8">
                  <c:v>0.37080110599668015</c:v>
                </c:pt>
                <c:pt idx="9">
                  <c:v>0.07144259879591693</c:v>
                </c:pt>
                <c:pt idx="10">
                  <c:v>0.00293839964269222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2</c:v>
                </c:pt>
                <c:pt idx="4">
                  <c:v>0.0704181629023056</c:v>
                </c:pt>
                <c:pt idx="5">
                  <c:v>0.21572543411195483</c:v>
                </c:pt>
                <c:pt idx="6">
                  <c:v>0.35475670948466687</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79075732324675</c:v>
                </c:pt>
                <c:pt idx="1">
                  <c:v>0.005824230887877261</c:v>
                </c:pt>
                <c:pt idx="2">
                  <c:v>0.008885762834549414</c:v>
                </c:pt>
                <c:pt idx="3">
                  <c:v>0.028017279950396302</c:v>
                </c:pt>
                <c:pt idx="4">
                  <c:v>0.10832678515330775</c:v>
                </c:pt>
                <c:pt idx="5">
                  <c:v>0.06675044176678308</c:v>
                </c:pt>
                <c:pt idx="6">
                  <c:v>0.21478575642534897</c:v>
                </c:pt>
                <c:pt idx="7">
                  <c:v>0.2651903699306569</c:v>
                </c:pt>
                <c:pt idx="8">
                  <c:v>0.15819348490249532</c:v>
                </c:pt>
                <c:pt idx="9">
                  <c:v>0.04991458045757674</c:v>
                </c:pt>
                <c:pt idx="10">
                  <c:v>0.017320550367761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c:v>
                </c:pt>
                <c:pt idx="6">
                  <c:v>0.09573927311006256</c:v>
                </c:pt>
                <c:pt idx="7">
                  <c:v>0.19579893844579263</c:v>
                </c:pt>
                <c:pt idx="8">
                  <c:v>0.18662621492811068</c:v>
                </c:pt>
                <c:pt idx="9">
                  <c:v>0.02094787125337853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6730220097645388</c:v>
                </c:pt>
                <c:pt idx="4">
                  <c:v>0.07325827275035034</c:v>
                </c:pt>
                <c:pt idx="5">
                  <c:v>0.0346323593536196</c:v>
                </c:pt>
                <c:pt idx="6">
                  <c:v>0.031598520312906206</c:v>
                </c:pt>
                <c:pt idx="7">
                  <c:v>0.040062529304925924</c:v>
                </c:pt>
                <c:pt idx="8">
                  <c:v>0.01794794002006598</c:v>
                </c:pt>
                <c:pt idx="9">
                  <c:v>0.0138924835529559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5</c:v>
                </c:pt>
                <c:pt idx="2">
                  <c:v>0.004450325450931046</c:v>
                </c:pt>
                <c:pt idx="3">
                  <c:v>0.06471624922901416</c:v>
                </c:pt>
                <c:pt idx="4">
                  <c:v>0.024844439046991046</c:v>
                </c:pt>
                <c:pt idx="5">
                  <c:v>0.06507363197089366</c:v>
                </c:pt>
                <c:pt idx="6">
                  <c:v>0.12226394010157356</c:v>
                </c:pt>
                <c:pt idx="7">
                  <c:v>0.24437305930213674</c:v>
                </c:pt>
                <c:pt idx="8">
                  <c:v>0.24572902336939234</c:v>
                </c:pt>
                <c:pt idx="9">
                  <c:v>0.15850126894474115</c:v>
                </c:pt>
                <c:pt idx="10">
                  <c:v>0.0424377845533649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05</c:v>
                </c:pt>
                <c:pt idx="5">
                  <c:v>0.1236600148751794</c:v>
                </c:pt>
                <c:pt idx="6">
                  <c:v>0.1497106993230088</c:v>
                </c:pt>
                <c:pt idx="7">
                  <c:v>0.1647679430192327</c:v>
                </c:pt>
                <c:pt idx="8">
                  <c:v>0.16299902679493175</c:v>
                </c:pt>
                <c:pt idx="9">
                  <c:v>0.1966570314498176</c:v>
                </c:pt>
                <c:pt idx="10">
                  <c:v>0.046427811992538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75</c:v>
                </c:pt>
                <c:pt idx="4">
                  <c:v>0.05770154953814584</c:v>
                </c:pt>
                <c:pt idx="5">
                  <c:v>0.14579996000114</c:v>
                </c:pt>
                <c:pt idx="6">
                  <c:v>0.1286472547711171</c:v>
                </c:pt>
                <c:pt idx="7">
                  <c:v>0.1797236450590925</c:v>
                </c:pt>
                <c:pt idx="8">
                  <c:v>0.24907140238754866</c:v>
                </c:pt>
                <c:pt idx="9">
                  <c:v>0.15553268833943143</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5</c:v>
                </c:pt>
                <c:pt idx="3">
                  <c:v>0.024302963422487257</c:v>
                </c:pt>
                <c:pt idx="4">
                  <c:v>0.06826483591000859</c:v>
                </c:pt>
                <c:pt idx="5">
                  <c:v>0.08108512902596</c:v>
                </c:pt>
                <c:pt idx="6">
                  <c:v>0.17391019501158078</c:v>
                </c:pt>
                <c:pt idx="7">
                  <c:v>0.21549263910120095</c:v>
                </c:pt>
                <c:pt idx="8">
                  <c:v>0.18617788954780062</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64</c:v>
                </c:pt>
                <c:pt idx="1">
                  <c:v>0.02062966834660215</c:v>
                </c:pt>
                <c:pt idx="2">
                  <c:v>0.08008332120232513</c:v>
                </c:pt>
                <c:pt idx="3">
                  <c:v>0.02838012765167107</c:v>
                </c:pt>
                <c:pt idx="4">
                  <c:v>0.14083598542271125</c:v>
                </c:pt>
                <c:pt idx="5">
                  <c:v>0.28115211531318074</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9624955572558335</c:v>
                </c:pt>
                <c:pt idx="3">
                  <c:v>0.07844769750622496</c:v>
                </c:pt>
                <c:pt idx="4">
                  <c:v>0.08989056765723218</c:v>
                </c:pt>
                <c:pt idx="5">
                  <c:v>0.0011853292649575801</c:v>
                </c:pt>
                <c:pt idx="6">
                  <c:v>0.009911237300409399</c:v>
                </c:pt>
                <c:pt idx="7">
                  <c:v>0.09702676708548813</c:v>
                </c:pt>
                <c:pt idx="8">
                  <c:v>0.00370829581967221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367525237686</c:v>
                </c:pt>
                <c:pt idx="2">
                  <c:v>0.004252032066076116</c:v>
                </c:pt>
                <c:pt idx="3">
                  <c:v>0.0849441658281238</c:v>
                </c:pt>
                <c:pt idx="4">
                  <c:v>0.02767727653606431</c:v>
                </c:pt>
                <c:pt idx="5">
                  <c:v>0.10953939421161026</c:v>
                </c:pt>
                <c:pt idx="6">
                  <c:v>0.12398962027820842</c:v>
                </c:pt>
                <c:pt idx="7">
                  <c:v>0.12106155214187639</c:v>
                </c:pt>
                <c:pt idx="8">
                  <c:v>0.3262023710047276</c:v>
                </c:pt>
                <c:pt idx="9">
                  <c:v>0.10121561452946574</c:v>
                </c:pt>
                <c:pt idx="10">
                  <c:v>0.095055559082672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872184253652326</c:v>
                </c:pt>
                <c:pt idx="1">
                  <c:v>0.0064377750810823645</c:v>
                </c:pt>
                <c:pt idx="2">
                  <c:v>0.023401097734032036</c:v>
                </c:pt>
                <c:pt idx="3">
                  <c:v>0.09046787823725069</c:v>
                </c:pt>
                <c:pt idx="4">
                  <c:v>0.026029595140876296</c:v>
                </c:pt>
                <c:pt idx="5">
                  <c:v>0.11858627354648472</c:v>
                </c:pt>
                <c:pt idx="6">
                  <c:v>0.1264765741568671</c:v>
                </c:pt>
                <c:pt idx="7">
                  <c:v>0.1971793522112262</c:v>
                </c:pt>
                <c:pt idx="8">
                  <c:v>0.1470544346951471</c:v>
                </c:pt>
                <c:pt idx="9">
                  <c:v>0.1255618047012625</c:v>
                </c:pt>
                <c:pt idx="10">
                  <c:v>0.134117996070405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35215450686418</c:v>
                </c:pt>
                <c:pt idx="1">
                  <c:v>0.0018944882812584778</c:v>
                </c:pt>
                <c:pt idx="2">
                  <c:v>0.0041063764779702226</c:v>
                </c:pt>
                <c:pt idx="3">
                  <c:v>0.01662843254070168</c:v>
                </c:pt>
                <c:pt idx="4">
                  <c:v>0.07293795557510467</c:v>
                </c:pt>
                <c:pt idx="5">
                  <c:v>0.1579797189122554</c:v>
                </c:pt>
                <c:pt idx="6">
                  <c:v>0.09598337906718378</c:v>
                </c:pt>
                <c:pt idx="7">
                  <c:v>0.21068997706434742</c:v>
                </c:pt>
                <c:pt idx="8">
                  <c:v>0.19968366113881508</c:v>
                </c:pt>
                <c:pt idx="9">
                  <c:v>0.15604544109593402</c:v>
                </c:pt>
                <c:pt idx="10">
                  <c:v>0.042698415339565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6552582285686</c:v>
                </c:pt>
                <c:pt idx="1">
                  <c:v>0.009453718885226003</c:v>
                </c:pt>
                <c:pt idx="2">
                  <c:v>0.020219498100420973</c:v>
                </c:pt>
                <c:pt idx="3">
                  <c:v>0.008240412408021246</c:v>
                </c:pt>
                <c:pt idx="4">
                  <c:v>0.05553369529734231</c:v>
                </c:pt>
                <c:pt idx="5">
                  <c:v>0.09321378517433843</c:v>
                </c:pt>
                <c:pt idx="6">
                  <c:v>0.216150125010367</c:v>
                </c:pt>
                <c:pt idx="7">
                  <c:v>0.151632184131818</c:v>
                </c:pt>
                <c:pt idx="8">
                  <c:v>0.34844429515359976</c:v>
                </c:pt>
                <c:pt idx="9">
                  <c:v>0.082946760016009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c:v>
                </c:pt>
                <c:pt idx="5">
                  <c:v>0.23404232341194106</c:v>
                </c:pt>
                <c:pt idx="6">
                  <c:v>0.17198108201208442</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44842968244936</c:v>
                </c:pt>
                <c:pt idx="1">
                  <c:v>0.006067271340511831</c:v>
                </c:pt>
                <c:pt idx="2">
                  <c:v>0.008868916459005855</c:v>
                </c:pt>
                <c:pt idx="3">
                  <c:v>0.026540558614162744</c:v>
                </c:pt>
                <c:pt idx="4">
                  <c:v>0.10919847111894317</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14416230522547</c:v>
                </c:pt>
                <c:pt idx="1">
                  <c:v>0.022345770538797674</c:v>
                </c:pt>
                <c:pt idx="2">
                  <c:v>0.03429018394452343</c:v>
                </c:pt>
                <c:pt idx="3">
                  <c:v>0.08080788065448997</c:v>
                </c:pt>
                <c:pt idx="4">
                  <c:v>0.16453614933211275</c:v>
                </c:pt>
                <c:pt idx="5">
                  <c:v>0.12102190703651872</c:v>
                </c:pt>
                <c:pt idx="6">
                  <c:v>0.06837932156017054</c:v>
                </c:pt>
                <c:pt idx="7">
                  <c:v>0.277033238563723</c:v>
                </c:pt>
                <c:pt idx="8">
                  <c:v>0.16530007726544974</c:v>
                </c:pt>
                <c:pt idx="9">
                  <c:v>0.042694142118576014</c:v>
                </c:pt>
                <c:pt idx="10">
                  <c:v>0.0038769127551155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2574445260241806</c:v>
                </c:pt>
                <c:pt idx="2">
                  <c:v>0.0076663425080420455</c:v>
                </c:pt>
                <c:pt idx="3">
                  <c:v>0.05797876578862857</c:v>
                </c:pt>
                <c:pt idx="4">
                  <c:v>0.023980990241791268</c:v>
                </c:pt>
                <c:pt idx="5">
                  <c:v>0.02130747406627056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05216905811994124</c:v>
                </c:pt>
                <c:pt idx="5">
                  <c:v>0.01825891858014151</c:v>
                </c:pt>
                <c:pt idx="7">
                  <c:v>0.030103958299176215</c:v>
                </c:pt>
                <c:pt idx="8">
                  <c:v>0.03790488467516881</c:v>
                </c:pt>
                <c:pt idx="9">
                  <c:v>0.00609009025009597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44032689602339</c:v>
                </c:pt>
                <c:pt idx="1">
                  <c:v>0.016414059402893172</c:v>
                </c:pt>
                <c:pt idx="2">
                  <c:v>0.018161040186737358</c:v>
                </c:pt>
                <c:pt idx="3">
                  <c:v>0.04107651871176549</c:v>
                </c:pt>
                <c:pt idx="4">
                  <c:v>0.07194189086716343</c:v>
                </c:pt>
                <c:pt idx="5">
                  <c:v>0.09244733293971688</c:v>
                </c:pt>
                <c:pt idx="6">
                  <c:v>0.10831682527395142</c:v>
                </c:pt>
                <c:pt idx="7">
                  <c:v>0.1890237751026156</c:v>
                </c:pt>
                <c:pt idx="8">
                  <c:v>0.19576873044059104</c:v>
                </c:pt>
                <c:pt idx="9">
                  <c:v>0.049546663979823755</c:v>
                </c:pt>
                <c:pt idx="10">
                  <c:v>0.2111591304051395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2295290510459986</c:v>
                </c:pt>
                <c:pt idx="8">
                  <c:v>0.0092465227018631</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366118400716372</c:v>
                </c:pt>
                <c:pt idx="1">
                  <c:v>0.01797997102747441</c:v>
                </c:pt>
                <c:pt idx="2">
                  <c:v>0.0110865325842958</c:v>
                </c:pt>
                <c:pt idx="3">
                  <c:v>0.013960396047619254</c:v>
                </c:pt>
                <c:pt idx="4">
                  <c:v>0.02723176835838932</c:v>
                </c:pt>
                <c:pt idx="5">
                  <c:v>0.14762693303421917</c:v>
                </c:pt>
                <c:pt idx="6">
                  <c:v>0.13467382647792436</c:v>
                </c:pt>
                <c:pt idx="7">
                  <c:v>0.15483900827319605</c:v>
                </c:pt>
                <c:pt idx="8">
                  <c:v>0.26165380079754724</c:v>
                </c:pt>
                <c:pt idx="9">
                  <c:v>0.18614307658344176</c:v>
                </c:pt>
                <c:pt idx="10">
                  <c:v>0.02043856841517618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11163222739851</c:v>
                </c:pt>
                <c:pt idx="1">
                  <c:v>0.023450659593645454</c:v>
                </c:pt>
                <c:pt idx="2">
                  <c:v>0.04241816351180766</c:v>
                </c:pt>
                <c:pt idx="3">
                  <c:v>0.020666175437598685</c:v>
                </c:pt>
                <c:pt idx="4">
                  <c:v>0.05022300927181057</c:v>
                </c:pt>
                <c:pt idx="5">
                  <c:v>0.07248607276688022</c:v>
                </c:pt>
                <c:pt idx="6">
                  <c:v>0.1448125544631567</c:v>
                </c:pt>
                <c:pt idx="7">
                  <c:v>0.16464962829241295</c:v>
                </c:pt>
                <c:pt idx="8">
                  <c:v>0.37080110599668015</c:v>
                </c:pt>
                <c:pt idx="9">
                  <c:v>0.07144259879591693</c:v>
                </c:pt>
                <c:pt idx="10">
                  <c:v>0.00293839964269222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9</c:v>
                </c:pt>
                <c:pt idx="1">
                  <c:v>0.01938841924172066</c:v>
                </c:pt>
                <c:pt idx="2">
                  <c:v>0.021087854795020847</c:v>
                </c:pt>
                <c:pt idx="3">
                  <c:v>0.046570673243805184</c:v>
                </c:pt>
                <c:pt idx="4">
                  <c:v>0.07462882923789696</c:v>
                </c:pt>
                <c:pt idx="5">
                  <c:v>0.09600551601999485</c:v>
                </c:pt>
                <c:pt idx="6">
                  <c:v>0.1265381674943396</c:v>
                </c:pt>
                <c:pt idx="7">
                  <c:v>0.17825652938472852</c:v>
                </c:pt>
                <c:pt idx="8">
                  <c:v>0.23031073586023193</c:v>
                </c:pt>
                <c:pt idx="9">
                  <c:v>0.10325666844976601</c:v>
                </c:pt>
                <c:pt idx="10">
                  <c:v>0.0834147382079293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213776378052894</c:v>
                </c:pt>
                <c:pt idx="1">
                  <c:v>0.07601075758833604</c:v>
                </c:pt>
                <c:pt idx="2">
                  <c:v>0.019801583306298543</c:v>
                </c:pt>
                <c:pt idx="3">
                  <c:v>0.03862397741285232</c:v>
                </c:pt>
                <c:pt idx="4">
                  <c:v>0.0704181629023056</c:v>
                </c:pt>
                <c:pt idx="5">
                  <c:v>0.21572543411195483</c:v>
                </c:pt>
                <c:pt idx="6">
                  <c:v>0.35475670948466687</c:v>
                </c:pt>
                <c:pt idx="7">
                  <c:v>0.11896334298735282</c:v>
                </c:pt>
                <c:pt idx="8">
                  <c:v>0.03931459111135447</c:v>
                </c:pt>
                <c:pt idx="9">
                  <c:v>0.0242476773143495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79075732324675</c:v>
                </c:pt>
                <c:pt idx="1">
                  <c:v>0.005824230887877261</c:v>
                </c:pt>
                <c:pt idx="2">
                  <c:v>0.008885762834549414</c:v>
                </c:pt>
                <c:pt idx="3">
                  <c:v>0.028017279950396302</c:v>
                </c:pt>
                <c:pt idx="4">
                  <c:v>0.10832678515330775</c:v>
                </c:pt>
                <c:pt idx="5">
                  <c:v>0.06675044176678308</c:v>
                </c:pt>
                <c:pt idx="6">
                  <c:v>0.21478575642534897</c:v>
                </c:pt>
                <c:pt idx="7">
                  <c:v>0.2651903699306569</c:v>
                </c:pt>
                <c:pt idx="8">
                  <c:v>0.15819348490249532</c:v>
                </c:pt>
                <c:pt idx="9">
                  <c:v>0.04991458045757674</c:v>
                </c:pt>
                <c:pt idx="10">
                  <c:v>0.017320550367761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680547764915187</c:v>
                </c:pt>
                <c:pt idx="1">
                  <c:v>0.04540702001606817</c:v>
                </c:pt>
                <c:pt idx="2">
                  <c:v>0.03409405223563892</c:v>
                </c:pt>
                <c:pt idx="3">
                  <c:v>0.10811884818817145</c:v>
                </c:pt>
                <c:pt idx="4">
                  <c:v>0.165406791758633</c:v>
                </c:pt>
                <c:pt idx="5">
                  <c:v>0.0997299325842492</c:v>
                </c:pt>
                <c:pt idx="6">
                  <c:v>0.09573927311006256</c:v>
                </c:pt>
                <c:pt idx="7">
                  <c:v>0.19579893844579263</c:v>
                </c:pt>
                <c:pt idx="8">
                  <c:v>0.18662621492811068</c:v>
                </c:pt>
                <c:pt idx="9">
                  <c:v>0.020947871253378533</c:v>
                </c:pt>
                <c:pt idx="10">
                  <c:v>0.0113255798307429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2750555814452005</c:v>
                </c:pt>
                <c:pt idx="2">
                  <c:v>0.004450325450931046</c:v>
                </c:pt>
                <c:pt idx="3">
                  <c:v>0.06471624922901416</c:v>
                </c:pt>
                <c:pt idx="4">
                  <c:v>0.024844439046991046</c:v>
                </c:pt>
                <c:pt idx="5">
                  <c:v>0.06507363197089366</c:v>
                </c:pt>
                <c:pt idx="6">
                  <c:v>0.12226394010157356</c:v>
                </c:pt>
                <c:pt idx="7">
                  <c:v>0.24437305930213674</c:v>
                </c:pt>
                <c:pt idx="8">
                  <c:v>0.24572902336939234</c:v>
                </c:pt>
                <c:pt idx="9">
                  <c:v>0.15850126894474115</c:v>
                </c:pt>
                <c:pt idx="10">
                  <c:v>0.0424377845533649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257412365626721</c:v>
                </c:pt>
                <c:pt idx="4">
                  <c:v>0.0034856073765726758</c:v>
                </c:pt>
                <c:pt idx="5">
                  <c:v>0.0036788198369053695</c:v>
                </c:pt>
                <c:pt idx="6">
                  <c:v>0.0020020644826584076</c:v>
                </c:pt>
                <c:pt idx="7">
                  <c:v>0.006249694296684839</c:v>
                </c:pt>
                <c:pt idx="8">
                  <c:v>0.00158341743693119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882278192255596</c:v>
                </c:pt>
                <c:pt idx="6">
                  <c:v>0.01692267970434872</c:v>
                </c:pt>
                <c:pt idx="7">
                  <c:v>0.03958883722423117</c:v>
                </c:pt>
                <c:pt idx="8">
                  <c:v>0.03447344271987417</c:v>
                </c:pt>
                <c:pt idx="9">
                  <c:v>0.008552573597412657</c:v>
                </c:pt>
                <c:pt idx="10">
                  <c:v>0.00072916193949321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549127697873031</c:v>
                </c:pt>
                <c:pt idx="1">
                  <c:v>0.018015538173938125</c:v>
                </c:pt>
                <c:pt idx="2">
                  <c:v>0.048921228940550794</c:v>
                </c:pt>
                <c:pt idx="3">
                  <c:v>0.040205132124715194</c:v>
                </c:pt>
                <c:pt idx="4">
                  <c:v>0.035086445608214605</c:v>
                </c:pt>
                <c:pt idx="5">
                  <c:v>0.1236600148751794</c:v>
                </c:pt>
                <c:pt idx="6">
                  <c:v>0.1497106993230088</c:v>
                </c:pt>
                <c:pt idx="7">
                  <c:v>0.1647679430192327</c:v>
                </c:pt>
                <c:pt idx="8">
                  <c:v>0.16299902679493175</c:v>
                </c:pt>
                <c:pt idx="9">
                  <c:v>0.1966570314498176</c:v>
                </c:pt>
                <c:pt idx="10">
                  <c:v>0.046427811992538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415582430339055</c:v>
                </c:pt>
                <c:pt idx="8">
                  <c:v>0.011988295694564919</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65898334756715</c:v>
                </c:pt>
                <c:pt idx="1">
                  <c:v>0.020705941386764733</c:v>
                </c:pt>
                <c:pt idx="2">
                  <c:v>0.0162787334152966</c:v>
                </c:pt>
                <c:pt idx="3">
                  <c:v>0.017548824161276975</c:v>
                </c:pt>
                <c:pt idx="4">
                  <c:v>0.05770154953814584</c:v>
                </c:pt>
                <c:pt idx="5">
                  <c:v>0.14579996000114</c:v>
                </c:pt>
                <c:pt idx="6">
                  <c:v>0.1286472547711171</c:v>
                </c:pt>
                <c:pt idx="7">
                  <c:v>0.1797236450590925</c:v>
                </c:pt>
                <c:pt idx="8">
                  <c:v>0.24907140238754866</c:v>
                </c:pt>
                <c:pt idx="9">
                  <c:v>0.15553268833943143</c:v>
                </c:pt>
                <c:pt idx="10">
                  <c:v>0.005624102605429428</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7058601382366944</c:v>
                </c:pt>
                <c:pt idx="1">
                  <c:v>0.04407534036648154</c:v>
                </c:pt>
                <c:pt idx="2">
                  <c:v>0.039148147102293945</c:v>
                </c:pt>
                <c:pt idx="3">
                  <c:v>0.024302963422487257</c:v>
                </c:pt>
                <c:pt idx="4">
                  <c:v>0.06826483591000859</c:v>
                </c:pt>
                <c:pt idx="5">
                  <c:v>0.08108512902596</c:v>
                </c:pt>
                <c:pt idx="6">
                  <c:v>0.17391019501158078</c:v>
                </c:pt>
                <c:pt idx="7">
                  <c:v>0.21549263910120095</c:v>
                </c:pt>
                <c:pt idx="8">
                  <c:v>0.18617788954780062</c:v>
                </c:pt>
                <c:pt idx="9">
                  <c:v>0.09837316300554058</c:v>
                </c:pt>
                <c:pt idx="10">
                  <c:v>0.0121110961242787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4077995271416664</c:v>
                </c:pt>
                <c:pt idx="1">
                  <c:v>0.02062966834660215</c:v>
                </c:pt>
                <c:pt idx="2">
                  <c:v>0.08008332120232513</c:v>
                </c:pt>
                <c:pt idx="3">
                  <c:v>0.02838012765167107</c:v>
                </c:pt>
                <c:pt idx="4">
                  <c:v>0.14083598542271125</c:v>
                </c:pt>
                <c:pt idx="5">
                  <c:v>0.28115211531318074</c:v>
                </c:pt>
                <c:pt idx="6">
                  <c:v>0.22040258842250043</c:v>
                </c:pt>
                <c:pt idx="7">
                  <c:v>0.07644417561014788</c:v>
                </c:pt>
                <c:pt idx="8">
                  <c:v>0.08295570341441867</c:v>
                </c:pt>
                <c:pt idx="9">
                  <c:v>0.0150383193450259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3889779998381663</c:v>
                </c:pt>
                <c:pt idx="2">
                  <c:v>0.01763736145551981</c:v>
                </c:pt>
                <c:pt idx="3">
                  <c:v>0.22477381694972196</c:v>
                </c:pt>
                <c:pt idx="4">
                  <c:v>0.11083399654413399</c:v>
                </c:pt>
                <c:pt idx="5">
                  <c:v>0.10979447122894243</c:v>
                </c:pt>
                <c:pt idx="6">
                  <c:v>0.017616876179823847</c:v>
                </c:pt>
                <c:pt idx="7">
                  <c:v>0.22932390396093047</c:v>
                </c:pt>
                <c:pt idx="8">
                  <c:v>0.1685322607242979</c:v>
                </c:pt>
                <c:pt idx="9">
                  <c:v>0.0821454434089137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594367525237686</c:v>
                </c:pt>
                <c:pt idx="2">
                  <c:v>0.004252032066076116</c:v>
                </c:pt>
                <c:pt idx="3">
                  <c:v>0.0849441658281238</c:v>
                </c:pt>
                <c:pt idx="4">
                  <c:v>0.02767727653606431</c:v>
                </c:pt>
                <c:pt idx="5">
                  <c:v>0.10953939421161026</c:v>
                </c:pt>
                <c:pt idx="6">
                  <c:v>0.12398962027820842</c:v>
                </c:pt>
                <c:pt idx="7">
                  <c:v>0.12106155214187639</c:v>
                </c:pt>
                <c:pt idx="8">
                  <c:v>0.3262023710047276</c:v>
                </c:pt>
                <c:pt idx="9">
                  <c:v>0.10121561452946574</c:v>
                </c:pt>
                <c:pt idx="10">
                  <c:v>0.095055559082672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29629555086729643</c:v>
                </c:pt>
                <c:pt idx="6">
                  <c:v>0.004072175014549033</c:v>
                </c:pt>
                <c:pt idx="7">
                  <c:v>0.021327844707948126</c:v>
                </c:pt>
                <c:pt idx="8">
                  <c:v>0.06993358149902323</c:v>
                </c:pt>
                <c:pt idx="9">
                  <c:v>0.00943198508798930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872184253652326</c:v>
                </c:pt>
                <c:pt idx="1">
                  <c:v>0.0064377750810823645</c:v>
                </c:pt>
                <c:pt idx="2">
                  <c:v>0.023401097734032036</c:v>
                </c:pt>
                <c:pt idx="3">
                  <c:v>0.09046787823725069</c:v>
                </c:pt>
                <c:pt idx="4">
                  <c:v>0.026029595140876296</c:v>
                </c:pt>
                <c:pt idx="5">
                  <c:v>0.11858627354648472</c:v>
                </c:pt>
                <c:pt idx="6">
                  <c:v>0.1264765741568671</c:v>
                </c:pt>
                <c:pt idx="7">
                  <c:v>0.1971793522112262</c:v>
                </c:pt>
                <c:pt idx="8">
                  <c:v>0.1470544346951471</c:v>
                </c:pt>
                <c:pt idx="9">
                  <c:v>0.1255618047012625</c:v>
                </c:pt>
                <c:pt idx="10">
                  <c:v>0.1341179960704057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8740610394460178</c:v>
                </c:pt>
                <c:pt idx="8">
                  <c:v>0.0115126921991336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35215450686418</c:v>
                </c:pt>
                <c:pt idx="1">
                  <c:v>0.0018944882812584778</c:v>
                </c:pt>
                <c:pt idx="2">
                  <c:v>0.0041063764779702226</c:v>
                </c:pt>
                <c:pt idx="3">
                  <c:v>0.01662843254070168</c:v>
                </c:pt>
                <c:pt idx="4">
                  <c:v>0.07293795557510467</c:v>
                </c:pt>
                <c:pt idx="5">
                  <c:v>0.1579797189122554</c:v>
                </c:pt>
                <c:pt idx="6">
                  <c:v>0.09598337906718378</c:v>
                </c:pt>
                <c:pt idx="7">
                  <c:v>0.21068997706434742</c:v>
                </c:pt>
                <c:pt idx="8">
                  <c:v>0.19968366113881508</c:v>
                </c:pt>
                <c:pt idx="9">
                  <c:v>0.15604544109593402</c:v>
                </c:pt>
                <c:pt idx="10">
                  <c:v>0.042698415339565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6552582285686</c:v>
                </c:pt>
                <c:pt idx="1">
                  <c:v>0.009453718885226003</c:v>
                </c:pt>
                <c:pt idx="2">
                  <c:v>0.020219498100420973</c:v>
                </c:pt>
                <c:pt idx="3">
                  <c:v>0.008240412408021246</c:v>
                </c:pt>
                <c:pt idx="4">
                  <c:v>0.05553369529734231</c:v>
                </c:pt>
                <c:pt idx="5">
                  <c:v>0.09321378517433843</c:v>
                </c:pt>
                <c:pt idx="6">
                  <c:v>0.216150125010367</c:v>
                </c:pt>
                <c:pt idx="7">
                  <c:v>0.151632184131818</c:v>
                </c:pt>
                <c:pt idx="8">
                  <c:v>0.34844429515359976</c:v>
                </c:pt>
                <c:pt idx="9">
                  <c:v>0.082946760016009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0379942463993448</c:v>
                </c:pt>
                <c:pt idx="1">
                  <c:v>0.09152991779240488</c:v>
                </c:pt>
                <c:pt idx="2">
                  <c:v>0.004866168269544087</c:v>
                </c:pt>
                <c:pt idx="3">
                  <c:v>0.04143895876586197</c:v>
                </c:pt>
                <c:pt idx="4">
                  <c:v>0.1205505953766374</c:v>
                </c:pt>
                <c:pt idx="5">
                  <c:v>0.23404232341194106</c:v>
                </c:pt>
                <c:pt idx="6">
                  <c:v>0.17198108201208442</c:v>
                </c:pt>
                <c:pt idx="7">
                  <c:v>0.228922177430617</c:v>
                </c:pt>
                <c:pt idx="8">
                  <c:v>0.04438874975561162</c:v>
                </c:pt>
                <c:pt idx="9">
                  <c:v>0.031900084721304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644842968244936</c:v>
                </c:pt>
                <c:pt idx="1">
                  <c:v>0.006067271340511831</c:v>
                </c:pt>
                <c:pt idx="2">
                  <c:v>0.008868916459005855</c:v>
                </c:pt>
                <c:pt idx="3">
                  <c:v>0.026540558614162744</c:v>
                </c:pt>
                <c:pt idx="4">
                  <c:v>0.10919847111894317</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4</c:v>
                </c:pt>
                <c:pt idx="1">
                  <c:v>0.025712148835382802</c:v>
                </c:pt>
                <c:pt idx="2">
                  <c:v>0.033589224880169175</c:v>
                </c:pt>
                <c:pt idx="3">
                  <c:v>0.047555465818613675</c:v>
                </c:pt>
                <c:pt idx="4">
                  <c:v>0.07216931461038154</c:v>
                </c:pt>
                <c:pt idx="5">
                  <c:v>0.11538975237199361</c:v>
                </c:pt>
                <c:pt idx="6">
                  <c:v>0.13910064653920556</c:v>
                </c:pt>
                <c:pt idx="7">
                  <c:v>0.18415888055193388</c:v>
                </c:pt>
                <c:pt idx="8">
                  <c:v>0.195675797395737</c:v>
                </c:pt>
                <c:pt idx="9">
                  <c:v>0.13733259935179568</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2</c:v>
                </c:pt>
                <c:pt idx="2">
                  <c:v>0.01976108985398971</c:v>
                </c:pt>
                <c:pt idx="3">
                  <c:v>0.07192901748330933</c:v>
                </c:pt>
                <c:pt idx="4">
                  <c:v>0.08583469975759078</c:v>
                </c:pt>
                <c:pt idx="5">
                  <c:v>0.09911325312877962</c:v>
                </c:pt>
                <c:pt idx="6">
                  <c:v>0.10772432930876731</c:v>
                </c:pt>
                <c:pt idx="7">
                  <c:v>0.18687023002152806</c:v>
                </c:pt>
                <c:pt idx="8">
                  <c:v>0.1796363171518086</c:v>
                </c:pt>
                <c:pt idx="9">
                  <c:v>0.14017528983490166</c:v>
                </c:pt>
                <c:pt idx="10">
                  <c:v>0.05954423639885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178856896970553</c:v>
                </c:pt>
                <c:pt idx="3">
                  <c:v>0.004221000255210378</c:v>
                </c:pt>
                <c:pt idx="4">
                  <c:v>0.0048367016634500255</c:v>
                </c:pt>
                <c:pt idx="6">
                  <c:v>0.000533289522884454</c:v>
                </c:pt>
                <c:pt idx="7">
                  <c:v>0.00522067596180990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86806456609</c:v>
                </c:pt>
                <c:pt idx="1">
                  <c:v>0.01938841924172066</c:v>
                </c:pt>
                <c:pt idx="2">
                  <c:v>0.021087854795020847</c:v>
                </c:pt>
                <c:pt idx="3">
                  <c:v>0.046570673243805184</c:v>
                </c:pt>
                <c:pt idx="4">
                  <c:v>0.07462882923789696</c:v>
                </c:pt>
                <c:pt idx="5">
                  <c:v>0.09600551601999485</c:v>
                </c:pt>
                <c:pt idx="6">
                  <c:v>0.1265381674943396</c:v>
                </c:pt>
                <c:pt idx="7">
                  <c:v>0.17825652938472852</c:v>
                </c:pt>
                <c:pt idx="8">
                  <c:v>0.23031073586023193</c:v>
                </c:pt>
                <c:pt idx="9">
                  <c:v>0.10325666844976601</c:v>
                </c:pt>
                <c:pt idx="10">
                  <c:v>0.0834147382079293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5208312875221814</c:v>
                </c:pt>
                <c:pt idx="7">
                  <c:v>0.003893851609747138</c:v>
                </c:pt>
                <c:pt idx="8">
                  <c:v>0.007047526753422941</c:v>
                </c:pt>
                <c:pt idx="9">
                  <c:v>0.000692061100980323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4</c:v>
                </c:pt>
                <c:pt idx="1">
                  <c:v>0.025712148835382802</c:v>
                </c:pt>
                <c:pt idx="2">
                  <c:v>0.033589224880169175</c:v>
                </c:pt>
                <c:pt idx="3">
                  <c:v>0.047555465818613675</c:v>
                </c:pt>
                <c:pt idx="4">
                  <c:v>0.07216931461038154</c:v>
                </c:pt>
                <c:pt idx="5">
                  <c:v>0.11538975237199361</c:v>
                </c:pt>
                <c:pt idx="6">
                  <c:v>0.13910064653920556</c:v>
                </c:pt>
                <c:pt idx="7">
                  <c:v>0.18415888055193388</c:v>
                </c:pt>
                <c:pt idx="8">
                  <c:v>0.195675797395737</c:v>
                </c:pt>
                <c:pt idx="9">
                  <c:v>0.13733259935179568</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664298652854376</c:v>
                </c:pt>
                <c:pt idx="6">
                  <c:v>0.003089423275313602</c:v>
                </c:pt>
                <c:pt idx="7">
                  <c:v>0.006460184788650986</c:v>
                </c:pt>
                <c:pt idx="8">
                  <c:v>0.008665698137942348</c:v>
                </c:pt>
                <c:pt idx="9">
                  <c:v>0.0010880785308658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43100656871526</c:v>
                </c:pt>
                <c:pt idx="1">
                  <c:v>0.017668436403600652</c:v>
                </c:pt>
                <c:pt idx="2">
                  <c:v>0.01976108985398971</c:v>
                </c:pt>
                <c:pt idx="3">
                  <c:v>0.07192901748330933</c:v>
                </c:pt>
                <c:pt idx="4">
                  <c:v>0.08583469975759078</c:v>
                </c:pt>
                <c:pt idx="5">
                  <c:v>0.09911325312877962</c:v>
                </c:pt>
                <c:pt idx="6">
                  <c:v>0.10772432930876731</c:v>
                </c:pt>
                <c:pt idx="7">
                  <c:v>0.18687023002152806</c:v>
                </c:pt>
                <c:pt idx="8">
                  <c:v>0.1796363171518086</c:v>
                </c:pt>
                <c:pt idx="9">
                  <c:v>0.14017528983490166</c:v>
                </c:pt>
                <c:pt idx="10">
                  <c:v>0.05954423639885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5204299399979363</c:v>
                </c:pt>
                <c:pt idx="7">
                  <c:v>0.0022808915986653336</c:v>
                </c:pt>
                <c:pt idx="8">
                  <c:v>0.006741166566456787</c:v>
                </c:pt>
                <c:pt idx="9">
                  <c:v>0.00066892867869542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6</c:v>
                </c:pt>
                <c:pt idx="8">
                  <c:v>0.2441931908156598</c:v>
                </c:pt>
                <c:pt idx="9">
                  <c:v>0.09521701832419886</c:v>
                </c:pt>
                <c:pt idx="10">
                  <c:v>0.09257267673393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1208663830276</c:v>
                </c:pt>
                <c:pt idx="3">
                  <c:v>0.0007196646615104993</c:v>
                </c:pt>
                <c:pt idx="4">
                  <c:v>0.0010448012569199275</c:v>
                </c:pt>
                <c:pt idx="5">
                  <c:v>0.002787209727973201</c:v>
                </c:pt>
                <c:pt idx="7">
                  <c:v>0.006778815408765452</c:v>
                </c:pt>
                <c:pt idx="8">
                  <c:v>0.0072587429825687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2</c:v>
                </c:pt>
                <c:pt idx="3">
                  <c:v>0.24074556770459496</c:v>
                </c:pt>
                <c:pt idx="4">
                  <c:v>0.25074804702660697</c:v>
                </c:pt>
                <c:pt idx="5">
                  <c:v>0.09501567428034124</c:v>
                </c:pt>
                <c:pt idx="6">
                  <c:v>0.01776621971473062</c:v>
                </c:pt>
                <c:pt idx="7">
                  <c:v>0.15861178296232292</c:v>
                </c:pt>
                <c:pt idx="8">
                  <c:v>0.2067430246170972</c:v>
                </c:pt>
                <c:pt idx="9">
                  <c:v>0.0096400324984600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36997505600131</c:v>
                </c:pt>
                <c:pt idx="2">
                  <c:v>0.044690603279236144</c:v>
                </c:pt>
                <c:pt idx="3">
                  <c:v>0.0077853908432242444</c:v>
                </c:pt>
                <c:pt idx="4">
                  <c:v>0.005396887048983884</c:v>
                </c:pt>
                <c:pt idx="5">
                  <c:v>0.015186923790371032</c:v>
                </c:pt>
                <c:pt idx="6">
                  <c:v>0.06798306597546827</c:v>
                </c:pt>
                <c:pt idx="7">
                  <c:v>0.170355174941914</c:v>
                </c:pt>
                <c:pt idx="8">
                  <c:v>0.2697100452327518</c:v>
                </c:pt>
                <c:pt idx="9">
                  <c:v>0.19172318249558798</c:v>
                </c:pt>
                <c:pt idx="10">
                  <c:v>0.2219317288868625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c:v>
                </c:pt>
                <c:pt idx="3">
                  <c:v>0.04319369866074314</c:v>
                </c:pt>
                <c:pt idx="4">
                  <c:v>0.06086647020153795</c:v>
                </c:pt>
                <c:pt idx="5">
                  <c:v>0.11629275414523582</c:v>
                </c:pt>
                <c:pt idx="6">
                  <c:v>0.14114999538782796</c:v>
                </c:pt>
                <c:pt idx="7">
                  <c:v>0.18708207317322248</c:v>
                </c:pt>
                <c:pt idx="8">
                  <c:v>0.1967227295391132</c:v>
                </c:pt>
                <c:pt idx="9">
                  <c:v>0.14353338057932882</c:v>
                </c:pt>
                <c:pt idx="10">
                  <c:v>0.026654505626985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26574529464262</c:v>
                </c:pt>
                <c:pt idx="3">
                  <c:v>0.0034725365029936576</c:v>
                </c:pt>
                <c:pt idx="4">
                  <c:v>0.0018439494441048283</c:v>
                </c:pt>
                <c:pt idx="5">
                  <c:v>0.0022671840543629514</c:v>
                </c:pt>
                <c:pt idx="6">
                  <c:v>0.0025051656416924775</c:v>
                </c:pt>
                <c:pt idx="7">
                  <c:v>0.006024157361937826</c:v>
                </c:pt>
                <c:pt idx="8">
                  <c:v>0.00714170999076862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2</c:v>
                </c:pt>
                <c:pt idx="6">
                  <c:v>0.07802381189235881</c:v>
                </c:pt>
                <c:pt idx="7">
                  <c:v>0.11515289447697061</c:v>
                </c:pt>
                <c:pt idx="8">
                  <c:v>0.18021104120617157</c:v>
                </c:pt>
                <c:pt idx="9">
                  <c:v>0.01543623998233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07163329055978</c:v>
                </c:pt>
                <c:pt idx="1">
                  <c:v>0.012044393970977332</c:v>
                </c:pt>
                <c:pt idx="2">
                  <c:v>0.014302872009187801</c:v>
                </c:pt>
                <c:pt idx="3">
                  <c:v>0.07353414332388442</c:v>
                </c:pt>
                <c:pt idx="4">
                  <c:v>0.05488923808164483</c:v>
                </c:pt>
                <c:pt idx="5">
                  <c:v>0.12557448270961982</c:v>
                </c:pt>
                <c:pt idx="6">
                  <c:v>0.12102272836063067</c:v>
                </c:pt>
                <c:pt idx="7">
                  <c:v>0.18684329868097355</c:v>
                </c:pt>
                <c:pt idx="8">
                  <c:v>0.21470096608732964</c:v>
                </c:pt>
                <c:pt idx="9">
                  <c:v>0.11508403400458216</c:v>
                </c:pt>
                <c:pt idx="10">
                  <c:v>0.067596679442113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4</c:v>
                </c:pt>
                <c:pt idx="1">
                  <c:v>0.025712148835382802</c:v>
                </c:pt>
                <c:pt idx="2">
                  <c:v>0.033589224880169175</c:v>
                </c:pt>
                <c:pt idx="3">
                  <c:v>0.047555465818613675</c:v>
                </c:pt>
                <c:pt idx="4">
                  <c:v>0.07216931461038154</c:v>
                </c:pt>
                <c:pt idx="5">
                  <c:v>0.11538975237199361</c:v>
                </c:pt>
                <c:pt idx="6">
                  <c:v>0.13910064653920556</c:v>
                </c:pt>
                <c:pt idx="7">
                  <c:v>0.18415888055193388</c:v>
                </c:pt>
                <c:pt idx="8">
                  <c:v>0.195675797395737</c:v>
                </c:pt>
                <c:pt idx="9">
                  <c:v>0.13733259935179568</c:v>
                </c:pt>
                <c:pt idx="10">
                  <c:v>0.02536890245908493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67188957190241</c:v>
                </c:pt>
                <c:pt idx="2">
                  <c:v>0.0008985854657447777</c:v>
                </c:pt>
                <c:pt idx="5">
                  <c:v>0.005865325889761269</c:v>
                </c:pt>
                <c:pt idx="6">
                  <c:v>0.0008625797184179212</c:v>
                </c:pt>
                <c:pt idx="7">
                  <c:v>0.00738259842231693</c:v>
                </c:pt>
                <c:pt idx="8">
                  <c:v>0.00783169278433611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291658228443035</c:v>
                </c:pt>
                <c:pt idx="2">
                  <c:v>0.03946935528362397</c:v>
                </c:pt>
                <c:pt idx="3">
                  <c:v>0.012088662743128498</c:v>
                </c:pt>
                <c:pt idx="4">
                  <c:v>0.0070793722896692265</c:v>
                </c:pt>
                <c:pt idx="5">
                  <c:v>0.013690961450585395</c:v>
                </c:pt>
                <c:pt idx="6">
                  <c:v>0.07072814467269821</c:v>
                </c:pt>
                <c:pt idx="7">
                  <c:v>0.1685900484983571</c:v>
                </c:pt>
                <c:pt idx="8">
                  <c:v>0.2754727107232577</c:v>
                </c:pt>
                <c:pt idx="9">
                  <c:v>0.18549766489847433</c:v>
                </c:pt>
                <c:pt idx="10">
                  <c:v>0.2220174765351763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7491382740963</c:v>
                </c:pt>
                <c:pt idx="1">
                  <c:v>0.01984474950618153</c:v>
                </c:pt>
                <c:pt idx="2">
                  <c:v>0.020650975604824384</c:v>
                </c:pt>
                <c:pt idx="3">
                  <c:v>0.038112756164787195</c:v>
                </c:pt>
                <c:pt idx="4">
                  <c:v>0.06178028423511178</c:v>
                </c:pt>
                <c:pt idx="5">
                  <c:v>0.09923269792249047</c:v>
                </c:pt>
                <c:pt idx="6">
                  <c:v>0.13318263902711563</c:v>
                </c:pt>
                <c:pt idx="7">
                  <c:v>0.17852552028295066</c:v>
                </c:pt>
                <c:pt idx="8">
                  <c:v>0.2441931908156598</c:v>
                </c:pt>
                <c:pt idx="9">
                  <c:v>0.09521701832419886</c:v>
                </c:pt>
                <c:pt idx="10">
                  <c:v>0.092572676733938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954533553850735</c:v>
                </c:pt>
                <c:pt idx="4">
                  <c:v>0.0041195377997191585</c:v>
                </c:pt>
                <c:pt idx="5">
                  <c:v>0.004347889977037508</c:v>
                </c:pt>
                <c:pt idx="6">
                  <c:v>0.002366181678756993</c:v>
                </c:pt>
                <c:pt idx="7">
                  <c:v>0.007386331594580739</c:v>
                </c:pt>
                <c:pt idx="8">
                  <c:v>0.00187139493335200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2</c:v>
                </c:pt>
                <c:pt idx="3">
                  <c:v>0.24074556770459496</c:v>
                </c:pt>
                <c:pt idx="4">
                  <c:v>0.25074804702660697</c:v>
                </c:pt>
                <c:pt idx="5">
                  <c:v>0.09501567428034124</c:v>
                </c:pt>
                <c:pt idx="6">
                  <c:v>0.01776621971473062</c:v>
                </c:pt>
                <c:pt idx="7">
                  <c:v>0.15861178296232292</c:v>
                </c:pt>
                <c:pt idx="8">
                  <c:v>0.2067430246170972</c:v>
                </c:pt>
                <c:pt idx="9">
                  <c:v>0.0096400324984600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0672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85762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450123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701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094920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04055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28052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43077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57854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0876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3871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5539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111287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7364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344921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480944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48112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974479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716231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4273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55833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39793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96159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28634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629792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96695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897282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570640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57625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92809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4854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72653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9436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8815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89349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6724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